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81" r:id="rId2"/>
    <p:sldId id="273" r:id="rId3"/>
    <p:sldId id="267" r:id="rId4"/>
    <p:sldId id="269" r:id="rId5"/>
    <p:sldId id="263" r:id="rId6"/>
    <p:sldId id="264" r:id="rId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5" autoAdjust="0"/>
    <p:restoredTop sz="94660"/>
  </p:normalViewPr>
  <p:slideViewPr>
    <p:cSldViewPr snapToGrid="0">
      <p:cViewPr varScale="1">
        <p:scale>
          <a:sx n="58" d="100"/>
          <a:sy n="58" d="100"/>
        </p:scale>
        <p:origin x="84" y="11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A98EB-6ADD-4D71-B2D7-56CE150BD037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2C919-7850-480D-A6D3-22459E415D49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89904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35667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357188"/>
            <a:ext cx="4511675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17BAA4-B5B9-4EE6-BF04-2BF699039A35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92513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58506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639319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81859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69BB05D7-53E2-4650-A23C-A649E2845235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4B1EEFD-5CA8-42B5-B71D-53F29B7A2823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32D61AEB-B9AE-41C4-9A9C-BA6B779158B4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48951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45834D90-3971-4768-B5D1-810DF05A63F6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24074008-D45B-4F91-AEE5-4C7F67B33226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73A66EB9-8321-46B4-AFC3-2A1E2C74E905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4248362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Title of Presentation | DD.MM.YYYY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A8432108-6D58-45AF-A103-D6D680BA2761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60BE6369-F82E-4F02-ADD1-11C71F138F4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F5938136-4F51-4880-8E8C-38E53EEA4AF7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728481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table 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14"/>
          <p:cNvSpPr>
            <a:spLocks noGrp="1"/>
          </p:cNvSpPr>
          <p:nvPr>
            <p:ph type="pic" sz="quarter" idx="21" hasCustomPrompt="1"/>
            <p:custDataLst>
              <p:tags r:id="rId2"/>
            </p:custDataLst>
          </p:nvPr>
        </p:nvSpPr>
        <p:spPr>
          <a:xfrm>
            <a:off x="6384032" y="4293096"/>
            <a:ext cx="5184576" cy="1800200"/>
          </a:xfrm>
          <a:prstGeom prst="roundRect">
            <a:avLst>
              <a:gd name="adj" fmla="val 7055"/>
            </a:avLst>
          </a:prstGeom>
          <a:solidFill>
            <a:schemeClr val="bg1">
              <a:lumMod val="75000"/>
            </a:schemeClr>
          </a:solidFill>
        </p:spPr>
        <p:txBody>
          <a:bodyPr tIns="792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35" name="Bildplatzhalter 14"/>
          <p:cNvSpPr>
            <a:spLocks noGrp="1"/>
          </p:cNvSpPr>
          <p:nvPr>
            <p:ph type="pic" sz="quarter" idx="22" hasCustomPrompt="1"/>
            <p:custDataLst>
              <p:tags r:id="rId3"/>
            </p:custDataLst>
          </p:nvPr>
        </p:nvSpPr>
        <p:spPr>
          <a:xfrm>
            <a:off x="766815" y="4293096"/>
            <a:ext cx="5184576" cy="1800200"/>
          </a:xfrm>
          <a:prstGeom prst="roundRect">
            <a:avLst>
              <a:gd name="adj" fmla="val 7055"/>
            </a:avLst>
          </a:prstGeom>
          <a:solidFill>
            <a:schemeClr val="bg1">
              <a:lumMod val="75000"/>
            </a:schemeClr>
          </a:solidFill>
        </p:spPr>
        <p:txBody>
          <a:bodyPr tIns="792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/>
              <a:t>Title of presentation | DD.MM.YYYY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215533F2-C0B5-4315-85D8-5EA869B6EE8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MIO_VALID_LAYOUT" hidden="1"/>
          <p:cNvSpPr/>
          <p:nvPr userDrawn="1"/>
        </p:nvSpPr>
        <p:spPr bwMode="gray">
          <a:xfrm>
            <a:off x="11856640" y="6597171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GB" dirty="0"/>
              <a:t>Insert slide title here (max. 2 lines | max. 1 line with Action Title)</a:t>
            </a:r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7008" y="3776427"/>
            <a:ext cx="916250" cy="802744"/>
          </a:xfrm>
          <a:custGeom>
            <a:avLst/>
            <a:gdLst>
              <a:gd name="connsiteX0" fmla="*/ 859304 w 916250"/>
              <a:gd name="connsiteY0" fmla="*/ 104 h 802744"/>
              <a:gd name="connsiteX1" fmla="*/ 913032 w 916250"/>
              <a:gd name="connsiteY1" fmla="*/ 66292 h 802744"/>
              <a:gd name="connsiteX2" fmla="*/ 710519 w 916250"/>
              <a:gd name="connsiteY2" fmla="*/ 740582 h 802744"/>
              <a:gd name="connsiteX3" fmla="*/ 650592 w 916250"/>
              <a:gd name="connsiteY3" fmla="*/ 802633 h 802744"/>
              <a:gd name="connsiteX4" fmla="*/ 34789 w 916250"/>
              <a:gd name="connsiteY4" fmla="*/ 610274 h 802744"/>
              <a:gd name="connsiteX5" fmla="*/ 1725 w 916250"/>
              <a:gd name="connsiteY5" fmla="*/ 539950 h 802744"/>
              <a:gd name="connsiteX6" fmla="*/ 136045 w 916250"/>
              <a:gd name="connsiteY6" fmla="*/ 138685 h 802744"/>
              <a:gd name="connsiteX7" fmla="*/ 218703 w 916250"/>
              <a:gd name="connsiteY7" fmla="*/ 62155 h 802744"/>
              <a:gd name="connsiteX8" fmla="*/ 859304 w 916250"/>
              <a:gd name="connsiteY8" fmla="*/ 104 h 80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6250" h="802744">
                <a:moveTo>
                  <a:pt x="859304" y="104"/>
                </a:moveTo>
                <a:cubicBezTo>
                  <a:pt x="890301" y="-1964"/>
                  <a:pt x="927497" y="26993"/>
                  <a:pt x="913032" y="66292"/>
                </a:cubicBezTo>
                <a:cubicBezTo>
                  <a:pt x="913032" y="66292"/>
                  <a:pt x="913032" y="66292"/>
                  <a:pt x="710519" y="740582"/>
                </a:cubicBezTo>
                <a:cubicBezTo>
                  <a:pt x="702254" y="777812"/>
                  <a:pt x="677456" y="804701"/>
                  <a:pt x="650592" y="802633"/>
                </a:cubicBezTo>
                <a:cubicBezTo>
                  <a:pt x="650592" y="802633"/>
                  <a:pt x="650592" y="802633"/>
                  <a:pt x="34789" y="610274"/>
                </a:cubicBezTo>
                <a:cubicBezTo>
                  <a:pt x="30656" y="608206"/>
                  <a:pt x="-8607" y="595796"/>
                  <a:pt x="1725" y="539950"/>
                </a:cubicBezTo>
                <a:cubicBezTo>
                  <a:pt x="1725" y="535813"/>
                  <a:pt x="133978" y="142822"/>
                  <a:pt x="136045" y="138685"/>
                </a:cubicBezTo>
                <a:cubicBezTo>
                  <a:pt x="150510" y="99386"/>
                  <a:pt x="187706" y="64224"/>
                  <a:pt x="218703" y="62155"/>
                </a:cubicBezTo>
                <a:cubicBezTo>
                  <a:pt x="218703" y="62155"/>
                  <a:pt x="218703" y="62155"/>
                  <a:pt x="859304" y="10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90000" tIns="46800" rIns="90000" bIns="4680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 baseline="0">
                <a:solidFill>
                  <a:schemeClr val="accent4"/>
                </a:solidFill>
                <a:latin typeface="Merck" panose="02060803030401040103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89032" y="3776427"/>
            <a:ext cx="916250" cy="802744"/>
          </a:xfrm>
          <a:custGeom>
            <a:avLst/>
            <a:gdLst>
              <a:gd name="connsiteX0" fmla="*/ 859304 w 916250"/>
              <a:gd name="connsiteY0" fmla="*/ 104 h 802744"/>
              <a:gd name="connsiteX1" fmla="*/ 913032 w 916250"/>
              <a:gd name="connsiteY1" fmla="*/ 66292 h 802744"/>
              <a:gd name="connsiteX2" fmla="*/ 710519 w 916250"/>
              <a:gd name="connsiteY2" fmla="*/ 740582 h 802744"/>
              <a:gd name="connsiteX3" fmla="*/ 650592 w 916250"/>
              <a:gd name="connsiteY3" fmla="*/ 802633 h 802744"/>
              <a:gd name="connsiteX4" fmla="*/ 34788 w 916250"/>
              <a:gd name="connsiteY4" fmla="*/ 610274 h 802744"/>
              <a:gd name="connsiteX5" fmla="*/ 1725 w 916250"/>
              <a:gd name="connsiteY5" fmla="*/ 539950 h 802744"/>
              <a:gd name="connsiteX6" fmla="*/ 136045 w 916250"/>
              <a:gd name="connsiteY6" fmla="*/ 138685 h 802744"/>
              <a:gd name="connsiteX7" fmla="*/ 218703 w 916250"/>
              <a:gd name="connsiteY7" fmla="*/ 62155 h 802744"/>
              <a:gd name="connsiteX8" fmla="*/ 859304 w 916250"/>
              <a:gd name="connsiteY8" fmla="*/ 104 h 80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6250" h="802744">
                <a:moveTo>
                  <a:pt x="859304" y="104"/>
                </a:moveTo>
                <a:cubicBezTo>
                  <a:pt x="890301" y="-1964"/>
                  <a:pt x="927497" y="26993"/>
                  <a:pt x="913032" y="66292"/>
                </a:cubicBezTo>
                <a:cubicBezTo>
                  <a:pt x="913032" y="66292"/>
                  <a:pt x="913032" y="66292"/>
                  <a:pt x="710519" y="740582"/>
                </a:cubicBezTo>
                <a:cubicBezTo>
                  <a:pt x="702254" y="777812"/>
                  <a:pt x="677456" y="804701"/>
                  <a:pt x="650592" y="802633"/>
                </a:cubicBezTo>
                <a:cubicBezTo>
                  <a:pt x="650592" y="802633"/>
                  <a:pt x="650592" y="802633"/>
                  <a:pt x="34788" y="610274"/>
                </a:cubicBezTo>
                <a:cubicBezTo>
                  <a:pt x="30655" y="608206"/>
                  <a:pt x="-8607" y="595796"/>
                  <a:pt x="1725" y="539950"/>
                </a:cubicBezTo>
                <a:cubicBezTo>
                  <a:pt x="1725" y="535813"/>
                  <a:pt x="133978" y="142822"/>
                  <a:pt x="136045" y="138685"/>
                </a:cubicBezTo>
                <a:cubicBezTo>
                  <a:pt x="150510" y="99386"/>
                  <a:pt x="187706" y="64224"/>
                  <a:pt x="218703" y="62155"/>
                </a:cubicBezTo>
                <a:cubicBezTo>
                  <a:pt x="218703" y="62155"/>
                  <a:pt x="218703" y="62155"/>
                  <a:pt x="859304" y="10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90000" tIns="46800" rIns="90000" bIns="4680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 baseline="0">
                <a:solidFill>
                  <a:schemeClr val="accent4"/>
                </a:solidFill>
                <a:latin typeface="Merck" panose="02060803030401040103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12" name="Freeform 11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C031DBB2-5A41-4347-B724-EE7D6E67F172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DF96468-20E6-4B54-9242-15AEB8F3163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013182-82CD-49B8-B9B8-97AF1FB0C8A8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997625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Title of Presentation | DD.MM.YYYY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C522E02F-3014-4CBD-A94B-5A38ECF3D968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809D0064-8860-4B36-BEDE-FF133E23381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3" name="Oval 15">
              <a:extLst>
                <a:ext uri="{FF2B5EF4-FFF2-40B4-BE49-F238E27FC236}">
                  <a16:creationId xmlns:a16="http://schemas.microsoft.com/office/drawing/2014/main" id="{2E884F2F-C0B4-42BF-BCFD-63E4A177D04B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507639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pictures 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/>
              <a:t>Title of presentation | DD.MM.YYYY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215533F2-C0B5-4315-85D8-5EA869B6EE8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MIO_VALID_LAYOUT" hidden="1"/>
          <p:cNvSpPr/>
          <p:nvPr userDrawn="1"/>
        </p:nvSpPr>
        <p:spPr bwMode="gray">
          <a:xfrm>
            <a:off x="11856640" y="6597171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GB" dirty="0"/>
              <a:t>Insert slide title here (max. 2 lines | max. 1 line with Action Title)</a:t>
            </a:r>
            <a:endParaRPr lang="de-DE" dirty="0"/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18"/>
          </p:nvPr>
        </p:nvSpPr>
        <p:spPr>
          <a:xfrm>
            <a:off x="3432174" y="3788561"/>
            <a:ext cx="2519363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19"/>
          </p:nvPr>
        </p:nvSpPr>
        <p:spPr>
          <a:xfrm>
            <a:off x="6240463" y="3788561"/>
            <a:ext cx="2519361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28"/>
          </p:nvPr>
        </p:nvSpPr>
        <p:spPr>
          <a:xfrm>
            <a:off x="9048750" y="3788561"/>
            <a:ext cx="2510452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2" name="Bildplatzhalter 3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384032" y="1639749"/>
            <a:ext cx="2270346" cy="1865150"/>
          </a:xfrm>
          <a:custGeom>
            <a:avLst/>
            <a:gdLst>
              <a:gd name="connsiteX0" fmla="*/ 175846 w 2270346"/>
              <a:gd name="connsiteY0" fmla="*/ 0 h 1865150"/>
              <a:gd name="connsiteX1" fmla="*/ 1742993 w 2270346"/>
              <a:gd name="connsiteY1" fmla="*/ 0 h 1865150"/>
              <a:gd name="connsiteX2" fmla="*/ 1974877 w 2270346"/>
              <a:gd name="connsiteY2" fmla="*/ 166346 h 1865150"/>
              <a:gd name="connsiteX3" fmla="*/ 2228017 w 2270346"/>
              <a:gd name="connsiteY3" fmla="*/ 916839 h 1865150"/>
              <a:gd name="connsiteX4" fmla="*/ 2187437 w 2270346"/>
              <a:gd name="connsiteY4" fmla="*/ 1253400 h 1865150"/>
              <a:gd name="connsiteX5" fmla="*/ 1688887 w 2270346"/>
              <a:gd name="connsiteY5" fmla="*/ 1597699 h 1865150"/>
              <a:gd name="connsiteX6" fmla="*/ 1447341 w 2270346"/>
              <a:gd name="connsiteY6" fmla="*/ 1765979 h 1865150"/>
              <a:gd name="connsiteX7" fmla="*/ 1126569 w 2270346"/>
              <a:gd name="connsiteY7" fmla="*/ 1864627 h 1865150"/>
              <a:gd name="connsiteX8" fmla="*/ 823188 w 2270346"/>
              <a:gd name="connsiteY8" fmla="*/ 1864627 h 1865150"/>
              <a:gd name="connsiteX9" fmla="*/ 262802 w 2270346"/>
              <a:gd name="connsiteY9" fmla="*/ 1864627 h 1865150"/>
              <a:gd name="connsiteX10" fmla="*/ 0 w 2270346"/>
              <a:gd name="connsiteY10" fmla="*/ 1642187 h 1865150"/>
              <a:gd name="connsiteX11" fmla="*/ 0 w 2270346"/>
              <a:gd name="connsiteY11" fmla="*/ 1114134 h 1865150"/>
              <a:gd name="connsiteX12" fmla="*/ 0 w 2270346"/>
              <a:gd name="connsiteY12" fmla="*/ 176018 h 1865150"/>
              <a:gd name="connsiteX13" fmla="*/ 175846 w 2270346"/>
              <a:gd name="connsiteY13" fmla="*/ 0 h 186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70346" h="1865150">
                <a:moveTo>
                  <a:pt x="175846" y="0"/>
                </a:moveTo>
                <a:cubicBezTo>
                  <a:pt x="175846" y="0"/>
                  <a:pt x="175846" y="0"/>
                  <a:pt x="1742993" y="0"/>
                </a:cubicBezTo>
                <a:cubicBezTo>
                  <a:pt x="1839612" y="0"/>
                  <a:pt x="1943959" y="75436"/>
                  <a:pt x="1974877" y="166346"/>
                </a:cubicBezTo>
                <a:cubicBezTo>
                  <a:pt x="1974877" y="166346"/>
                  <a:pt x="1974877" y="166346"/>
                  <a:pt x="2228017" y="916839"/>
                </a:cubicBezTo>
                <a:cubicBezTo>
                  <a:pt x="2239610" y="951656"/>
                  <a:pt x="2338161" y="1154754"/>
                  <a:pt x="2187437" y="1253400"/>
                </a:cubicBezTo>
                <a:cubicBezTo>
                  <a:pt x="2187437" y="1253400"/>
                  <a:pt x="2187437" y="1253400"/>
                  <a:pt x="1688887" y="1597699"/>
                </a:cubicBezTo>
                <a:cubicBezTo>
                  <a:pt x="1688887" y="1597699"/>
                  <a:pt x="1688887" y="1597699"/>
                  <a:pt x="1447341" y="1765979"/>
                </a:cubicBezTo>
                <a:cubicBezTo>
                  <a:pt x="1366183" y="1820139"/>
                  <a:pt x="1223188" y="1864627"/>
                  <a:pt x="1126569" y="1864627"/>
                </a:cubicBezTo>
                <a:cubicBezTo>
                  <a:pt x="1126569" y="1864627"/>
                  <a:pt x="1126569" y="1864627"/>
                  <a:pt x="823188" y="1864627"/>
                </a:cubicBezTo>
                <a:cubicBezTo>
                  <a:pt x="823188" y="1864627"/>
                  <a:pt x="823188" y="1864627"/>
                  <a:pt x="262802" y="1864627"/>
                </a:cubicBezTo>
                <a:cubicBezTo>
                  <a:pt x="90822" y="1866561"/>
                  <a:pt x="1932" y="1874298"/>
                  <a:pt x="0" y="1642187"/>
                </a:cubicBezTo>
                <a:cubicBezTo>
                  <a:pt x="0" y="1642187"/>
                  <a:pt x="0" y="1642187"/>
                  <a:pt x="0" y="1114134"/>
                </a:cubicBezTo>
                <a:cubicBezTo>
                  <a:pt x="0" y="1114134"/>
                  <a:pt x="0" y="1114134"/>
                  <a:pt x="0" y="176018"/>
                </a:cubicBezTo>
                <a:cubicBezTo>
                  <a:pt x="0" y="79305"/>
                  <a:pt x="79228" y="0"/>
                  <a:pt x="175846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0" name="Bildplatzhalter 29"/>
          <p:cNvSpPr>
            <a:spLocks noGrp="1"/>
          </p:cNvSpPr>
          <p:nvPr>
            <p:ph type="pic" sz="quarter" idx="30" hasCustomPrompt="1"/>
          </p:nvPr>
        </p:nvSpPr>
        <p:spPr bwMode="gray">
          <a:xfrm rot="21194073">
            <a:off x="696242" y="1771209"/>
            <a:ext cx="2519999" cy="1730663"/>
          </a:xfrm>
          <a:custGeom>
            <a:avLst/>
            <a:gdLst>
              <a:gd name="connsiteX0" fmla="*/ 114792 w 2519999"/>
              <a:gd name="connsiteY0" fmla="*/ 944 h 1730663"/>
              <a:gd name="connsiteX1" fmla="*/ 1478816 w 2519999"/>
              <a:gd name="connsiteY1" fmla="*/ 189953 h 1730663"/>
              <a:gd name="connsiteX2" fmla="*/ 1561954 w 2519999"/>
              <a:gd name="connsiteY2" fmla="*/ 201238 h 1730663"/>
              <a:gd name="connsiteX3" fmla="*/ 1948051 w 2519999"/>
              <a:gd name="connsiteY3" fmla="*/ 273174 h 1730663"/>
              <a:gd name="connsiteX4" fmla="*/ 1957915 w 2519999"/>
              <a:gd name="connsiteY4" fmla="*/ 275996 h 1730663"/>
              <a:gd name="connsiteX5" fmla="*/ 2060780 w 2519999"/>
              <a:gd name="connsiteY5" fmla="*/ 299974 h 1730663"/>
              <a:gd name="connsiteX6" fmla="*/ 2411650 w 2519999"/>
              <a:gd name="connsiteY6" fmla="*/ 383195 h 1730663"/>
              <a:gd name="connsiteX7" fmla="*/ 2518742 w 2519999"/>
              <a:gd name="connsiteY7" fmla="*/ 539763 h 1730663"/>
              <a:gd name="connsiteX8" fmla="*/ 2406013 w 2519999"/>
              <a:gd name="connsiteY8" fmla="*/ 1391720 h 1730663"/>
              <a:gd name="connsiteX9" fmla="*/ 2262283 w 2519999"/>
              <a:gd name="connsiteY9" fmla="*/ 1531361 h 1730663"/>
              <a:gd name="connsiteX10" fmla="*/ 1873368 w 2519999"/>
              <a:gd name="connsiteY10" fmla="*/ 1568035 h 1730663"/>
              <a:gd name="connsiteX11" fmla="*/ 861623 w 2519999"/>
              <a:gd name="connsiteY11" fmla="*/ 1666772 h 1730663"/>
              <a:gd name="connsiteX12" fmla="*/ 824986 w 2519999"/>
              <a:gd name="connsiteY12" fmla="*/ 1676645 h 1730663"/>
              <a:gd name="connsiteX13" fmla="*/ 367024 w 2519999"/>
              <a:gd name="connsiteY13" fmla="*/ 1723192 h 1730663"/>
              <a:gd name="connsiteX14" fmla="*/ 359978 w 2519999"/>
              <a:gd name="connsiteY14" fmla="*/ 1724604 h 1730663"/>
              <a:gd name="connsiteX15" fmla="*/ 295159 w 2519999"/>
              <a:gd name="connsiteY15" fmla="*/ 1730246 h 1730663"/>
              <a:gd name="connsiteX16" fmla="*/ 155656 w 2519999"/>
              <a:gd name="connsiteY16" fmla="*/ 1613172 h 1730663"/>
              <a:gd name="connsiteX17" fmla="*/ 653 w 2519999"/>
              <a:gd name="connsiteY17" fmla="*/ 110964 h 1730663"/>
              <a:gd name="connsiteX18" fmla="*/ 114792 w 2519999"/>
              <a:gd name="connsiteY18" fmla="*/ 944 h 17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519999" h="1730663">
                <a:moveTo>
                  <a:pt x="114792" y="944"/>
                </a:moveTo>
                <a:cubicBezTo>
                  <a:pt x="114792" y="944"/>
                  <a:pt x="114792" y="944"/>
                  <a:pt x="1478816" y="189953"/>
                </a:cubicBezTo>
                <a:cubicBezTo>
                  <a:pt x="1478816" y="189953"/>
                  <a:pt x="1478816" y="189953"/>
                  <a:pt x="1561954" y="201238"/>
                </a:cubicBezTo>
                <a:cubicBezTo>
                  <a:pt x="1726820" y="223807"/>
                  <a:pt x="1838140" y="247785"/>
                  <a:pt x="1948051" y="273174"/>
                </a:cubicBezTo>
                <a:cubicBezTo>
                  <a:pt x="1950870" y="274585"/>
                  <a:pt x="1955096" y="274585"/>
                  <a:pt x="1957915" y="275996"/>
                </a:cubicBezTo>
                <a:cubicBezTo>
                  <a:pt x="1957915" y="275996"/>
                  <a:pt x="1957915" y="275996"/>
                  <a:pt x="2060780" y="299974"/>
                </a:cubicBezTo>
                <a:cubicBezTo>
                  <a:pt x="2060780" y="299974"/>
                  <a:pt x="2060780" y="299974"/>
                  <a:pt x="2411650" y="383195"/>
                </a:cubicBezTo>
                <a:cubicBezTo>
                  <a:pt x="2479287" y="400122"/>
                  <a:pt x="2528606" y="469237"/>
                  <a:pt x="2518742" y="539763"/>
                </a:cubicBezTo>
                <a:cubicBezTo>
                  <a:pt x="2518742" y="539763"/>
                  <a:pt x="2518742" y="539763"/>
                  <a:pt x="2406013" y="1391720"/>
                </a:cubicBezTo>
                <a:cubicBezTo>
                  <a:pt x="2396149" y="1460835"/>
                  <a:pt x="2331330" y="1524309"/>
                  <a:pt x="2262283" y="1531361"/>
                </a:cubicBezTo>
                <a:cubicBezTo>
                  <a:pt x="2262283" y="1531361"/>
                  <a:pt x="2262283" y="1531361"/>
                  <a:pt x="1873368" y="1568035"/>
                </a:cubicBezTo>
                <a:cubicBezTo>
                  <a:pt x="1873368" y="1568035"/>
                  <a:pt x="1873368" y="1568035"/>
                  <a:pt x="861623" y="1666772"/>
                </a:cubicBezTo>
                <a:cubicBezTo>
                  <a:pt x="847532" y="1668183"/>
                  <a:pt x="834850" y="1671003"/>
                  <a:pt x="824986" y="1676645"/>
                </a:cubicBezTo>
                <a:cubicBezTo>
                  <a:pt x="824986" y="1676645"/>
                  <a:pt x="824986" y="1676645"/>
                  <a:pt x="367024" y="1723192"/>
                </a:cubicBezTo>
                <a:cubicBezTo>
                  <a:pt x="367024" y="1723192"/>
                  <a:pt x="367024" y="1723192"/>
                  <a:pt x="359978" y="1724604"/>
                </a:cubicBezTo>
                <a:cubicBezTo>
                  <a:pt x="359978" y="1724604"/>
                  <a:pt x="359978" y="1724604"/>
                  <a:pt x="295159" y="1730246"/>
                </a:cubicBezTo>
                <a:cubicBezTo>
                  <a:pt x="226112" y="1735887"/>
                  <a:pt x="162702" y="1683698"/>
                  <a:pt x="155656" y="1613172"/>
                </a:cubicBezTo>
                <a:cubicBezTo>
                  <a:pt x="155656" y="1613172"/>
                  <a:pt x="155656" y="1613172"/>
                  <a:pt x="653" y="110964"/>
                </a:cubicBezTo>
                <a:cubicBezTo>
                  <a:pt x="-6392" y="41849"/>
                  <a:pt x="44336" y="-7520"/>
                  <a:pt x="114792" y="944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3" name="Bildplatzhalter 32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9120336" y="1555840"/>
            <a:ext cx="2375766" cy="2031691"/>
          </a:xfrm>
          <a:custGeom>
            <a:avLst/>
            <a:gdLst>
              <a:gd name="connsiteX0" fmla="*/ 822010 w 2375766"/>
              <a:gd name="connsiteY0" fmla="*/ 0 h 2031691"/>
              <a:gd name="connsiteX1" fmla="*/ 2071697 w 2375766"/>
              <a:gd name="connsiteY1" fmla="*/ 0 h 2031691"/>
              <a:gd name="connsiteX2" fmla="*/ 2375766 w 2375766"/>
              <a:gd name="connsiteY2" fmla="*/ 275344 h 2031691"/>
              <a:gd name="connsiteX3" fmla="*/ 2375766 w 2375766"/>
              <a:gd name="connsiteY3" fmla="*/ 1785202 h 2031691"/>
              <a:gd name="connsiteX4" fmla="*/ 2075039 w 2375766"/>
              <a:gd name="connsiteY4" fmla="*/ 2030289 h 2031691"/>
              <a:gd name="connsiteX5" fmla="*/ 1720850 w 2375766"/>
              <a:gd name="connsiteY5" fmla="*/ 1993979 h 2031691"/>
              <a:gd name="connsiteX6" fmla="*/ 888838 w 2375766"/>
              <a:gd name="connsiteY6" fmla="*/ 1912283 h 2031691"/>
              <a:gd name="connsiteX7" fmla="*/ 374261 w 2375766"/>
              <a:gd name="connsiteY7" fmla="*/ 1709558 h 2031691"/>
              <a:gd name="connsiteX8" fmla="*/ 24 w 2375766"/>
              <a:gd name="connsiteY8" fmla="*/ 904703 h 2031691"/>
              <a:gd name="connsiteX9" fmla="*/ 384285 w 2375766"/>
              <a:gd name="connsiteY9" fmla="*/ 248113 h 2031691"/>
              <a:gd name="connsiteX10" fmla="*/ 822010 w 2375766"/>
              <a:gd name="connsiteY10" fmla="*/ 0 h 203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75766" h="2031691">
                <a:moveTo>
                  <a:pt x="822010" y="0"/>
                </a:moveTo>
                <a:lnTo>
                  <a:pt x="2071697" y="0"/>
                </a:lnTo>
                <a:cubicBezTo>
                  <a:pt x="2238768" y="0"/>
                  <a:pt x="2375766" y="124056"/>
                  <a:pt x="2375766" y="275344"/>
                </a:cubicBezTo>
                <a:lnTo>
                  <a:pt x="2375766" y="1785202"/>
                </a:lnTo>
                <a:cubicBezTo>
                  <a:pt x="2375766" y="1936490"/>
                  <a:pt x="2242109" y="2045417"/>
                  <a:pt x="2075039" y="2030289"/>
                </a:cubicBezTo>
                <a:lnTo>
                  <a:pt x="1720850" y="1993979"/>
                </a:lnTo>
                <a:lnTo>
                  <a:pt x="888838" y="1912283"/>
                </a:lnTo>
                <a:cubicBezTo>
                  <a:pt x="862107" y="1909258"/>
                  <a:pt x="481187" y="1918334"/>
                  <a:pt x="374261" y="1709558"/>
                </a:cubicBezTo>
                <a:cubicBezTo>
                  <a:pt x="80444" y="1265745"/>
                  <a:pt x="-1648" y="1196257"/>
                  <a:pt x="24" y="904703"/>
                </a:cubicBezTo>
                <a:cubicBezTo>
                  <a:pt x="118468" y="667614"/>
                  <a:pt x="220800" y="542835"/>
                  <a:pt x="384285" y="248113"/>
                </a:cubicBezTo>
                <a:cubicBezTo>
                  <a:pt x="461138" y="111953"/>
                  <a:pt x="654939" y="0"/>
                  <a:pt x="82201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611960" y="1499299"/>
            <a:ext cx="2124000" cy="2027575"/>
          </a:xfrm>
          <a:custGeom>
            <a:avLst/>
            <a:gdLst>
              <a:gd name="connsiteX0" fmla="*/ 1050133 w 2124000"/>
              <a:gd name="connsiteY0" fmla="*/ 61 h 2027575"/>
              <a:gd name="connsiteX1" fmla="*/ 1086851 w 2124000"/>
              <a:gd name="connsiteY1" fmla="*/ 11897 h 2027575"/>
              <a:gd name="connsiteX2" fmla="*/ 1996560 w 2124000"/>
              <a:gd name="connsiteY2" fmla="*/ 307919 h 2027575"/>
              <a:gd name="connsiteX3" fmla="*/ 2124000 w 2124000"/>
              <a:gd name="connsiteY3" fmla="*/ 479450 h 2027575"/>
              <a:gd name="connsiteX4" fmla="*/ 2124000 w 2124000"/>
              <a:gd name="connsiteY4" fmla="*/ 1915563 h 2027575"/>
              <a:gd name="connsiteX5" fmla="*/ 1993587 w 2124000"/>
              <a:gd name="connsiteY5" fmla="*/ 2025456 h 2027575"/>
              <a:gd name="connsiteX6" fmla="*/ 131901 w 2124000"/>
              <a:gd name="connsiteY6" fmla="*/ 1708955 h 2027575"/>
              <a:gd name="connsiteX7" fmla="*/ 0 w 2124000"/>
              <a:gd name="connsiteY7" fmla="*/ 1553646 h 2027575"/>
              <a:gd name="connsiteX8" fmla="*/ 0 w 2124000"/>
              <a:gd name="connsiteY8" fmla="*/ 752155 h 2027575"/>
              <a:gd name="connsiteX9" fmla="*/ 114271 w 2124000"/>
              <a:gd name="connsiteY9" fmla="*/ 551225 h 2027575"/>
              <a:gd name="connsiteX10" fmla="*/ 563922 w 2124000"/>
              <a:gd name="connsiteY10" fmla="*/ 280143 h 2027575"/>
              <a:gd name="connsiteX11" fmla="*/ 830485 w 2124000"/>
              <a:gd name="connsiteY11" fmla="*/ 120371 h 2027575"/>
              <a:gd name="connsiteX12" fmla="*/ 845140 w 2124000"/>
              <a:gd name="connsiteY12" fmla="*/ 110234 h 2027575"/>
              <a:gd name="connsiteX13" fmla="*/ 1012299 w 2124000"/>
              <a:gd name="connsiteY13" fmla="*/ 9059 h 2027575"/>
              <a:gd name="connsiteX14" fmla="*/ 1050133 w 2124000"/>
              <a:gd name="connsiteY14" fmla="*/ 61 h 2027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4000" h="2027575">
                <a:moveTo>
                  <a:pt x="1050133" y="61"/>
                </a:moveTo>
                <a:cubicBezTo>
                  <a:pt x="1063115" y="594"/>
                  <a:pt x="1075913" y="4597"/>
                  <a:pt x="1086851" y="11897"/>
                </a:cubicBezTo>
                <a:lnTo>
                  <a:pt x="1996560" y="307919"/>
                </a:lnTo>
                <a:cubicBezTo>
                  <a:pt x="2066865" y="328397"/>
                  <a:pt x="2124000" y="406256"/>
                  <a:pt x="2124000" y="479450"/>
                </a:cubicBezTo>
                <a:lnTo>
                  <a:pt x="2124000" y="1915563"/>
                </a:lnTo>
                <a:cubicBezTo>
                  <a:pt x="2124000" y="1988959"/>
                  <a:pt x="2065378" y="2038635"/>
                  <a:pt x="1993587" y="2025456"/>
                </a:cubicBezTo>
                <a:lnTo>
                  <a:pt x="131901" y="1708955"/>
                </a:lnTo>
                <a:cubicBezTo>
                  <a:pt x="60109" y="1695777"/>
                  <a:pt x="0" y="1626839"/>
                  <a:pt x="0" y="1553646"/>
                </a:cubicBezTo>
                <a:lnTo>
                  <a:pt x="0" y="752155"/>
                </a:lnTo>
                <a:cubicBezTo>
                  <a:pt x="0" y="678758"/>
                  <a:pt x="51188" y="587923"/>
                  <a:pt x="114271" y="551225"/>
                </a:cubicBezTo>
                <a:lnTo>
                  <a:pt x="563922" y="280143"/>
                </a:lnTo>
                <a:lnTo>
                  <a:pt x="830485" y="120371"/>
                </a:lnTo>
                <a:cubicBezTo>
                  <a:pt x="834945" y="117330"/>
                  <a:pt x="840892" y="114491"/>
                  <a:pt x="845140" y="110234"/>
                </a:cubicBezTo>
                <a:lnTo>
                  <a:pt x="1012299" y="9059"/>
                </a:lnTo>
                <a:cubicBezTo>
                  <a:pt x="1023982" y="2469"/>
                  <a:pt x="1037150" y="-471"/>
                  <a:pt x="1050133" y="61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33"/>
          </p:nvPr>
        </p:nvSpPr>
        <p:spPr>
          <a:xfrm>
            <a:off x="623887" y="3788561"/>
            <a:ext cx="2519363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Freeform 11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Freeform 12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oup 12">
            <a:extLst>
              <a:ext uri="{FF2B5EF4-FFF2-40B4-BE49-F238E27FC236}">
                <a16:creationId xmlns:a16="http://schemas.microsoft.com/office/drawing/2014/main" id="{063CEDAC-48EE-4DD0-AE57-0AAB86A3ADD9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00AF9CE-57F0-462E-A2CD-8A0128BACBDB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25" name="Oval 15">
              <a:extLst>
                <a:ext uri="{FF2B5EF4-FFF2-40B4-BE49-F238E27FC236}">
                  <a16:creationId xmlns:a16="http://schemas.microsoft.com/office/drawing/2014/main" id="{8E313B6D-FF45-4194-920A-254C99AC5E5E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4644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pos="1980">
          <p15:clr>
            <a:srgbClr val="FBAE40"/>
          </p15:clr>
        </p15:guide>
        <p15:guide id="2" pos="2162">
          <p15:clr>
            <a:srgbClr val="FBAE40"/>
          </p15:clr>
        </p15:guide>
        <p15:guide id="3" pos="3749">
          <p15:clr>
            <a:srgbClr val="FBAE40"/>
          </p15:clr>
        </p15:guide>
        <p15:guide id="4" pos="3931">
          <p15:clr>
            <a:srgbClr val="FBAE40"/>
          </p15:clr>
        </p15:guide>
        <p15:guide id="5" pos="5518">
          <p15:clr>
            <a:srgbClr val="FBAE40"/>
          </p15:clr>
        </p15:guide>
        <p15:guide id="6" pos="57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3E424021-BD2D-41CC-96DE-3A63B1B1C980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D20C9B-7425-4EE5-A346-461DC222AAC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6B1EBB05-C1AF-4415-92F2-7960FFE0DCC4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329402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21198EAB-6AC6-4973-8FF1-FB041001644E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41316E6D-1E17-4D35-97FB-A38C4D3F1B83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F57A13FD-E39E-42A9-A373-CC466731D00F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3716442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ECCED422-413C-461E-B309-A333116F660F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5FA24C1-62EB-4E45-B25F-8B68A03504F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DC2694D3-8C8A-49EE-80A5-59A47F0D7220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788618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10" name="Freeform 9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reeform 11"/>
          <p:cNvSpPr/>
          <p:nvPr userDrawn="1"/>
        </p:nvSpPr>
        <p:spPr bwMode="gray">
          <a:xfrm>
            <a:off x="152401" y="64843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152401" y="49635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D789B6AC-825A-4EEE-B781-4077656EE2E2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0734E6-1F92-40FC-A794-1EF587D9612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06C7CD2-A722-4D10-810B-DA0456500692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00001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8" name="Group 12">
            <a:extLst>
              <a:ext uri="{FF2B5EF4-FFF2-40B4-BE49-F238E27FC236}">
                <a16:creationId xmlns:a16="http://schemas.microsoft.com/office/drawing/2014/main" id="{67051C4B-9C0E-49C0-A9C6-F21FEFBA86BD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8AA1585-231A-4930-96C5-63738211D44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0" name="Oval 15">
              <a:extLst>
                <a:ext uri="{FF2B5EF4-FFF2-40B4-BE49-F238E27FC236}">
                  <a16:creationId xmlns:a16="http://schemas.microsoft.com/office/drawing/2014/main" id="{1D2C3EF5-91F4-4EA5-8FAA-051A13E931D9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30131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5" name="Freeform 4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reeform 5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FE631610-70A9-41D0-8450-C9A5949DE67A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B8939D98-7FFE-4159-9245-08B614637AC2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9" name="Oval 15">
              <a:extLst>
                <a:ext uri="{FF2B5EF4-FFF2-40B4-BE49-F238E27FC236}">
                  <a16:creationId xmlns:a16="http://schemas.microsoft.com/office/drawing/2014/main" id="{B52B889D-BEF9-4622-8B3D-B838F0216891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829868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A38AABD7-C10C-4C4F-82F3-ABC2F1DF586A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1DC6025-5BDB-461A-9BEF-A21ADA5C7D82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D595C50F-5553-49D5-871D-14F951EA2A30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37409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D4C7281E-1F89-4F58-B1AC-3410C4AAABDB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6779959-7738-4739-BD78-38F96FCD5584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64FBEACD-1274-4BF2-B606-DA0528CF9D89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107007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A13FF3-A3B4-402D-91B1-C176C247EB92}" type="datetimeFigureOut">
              <a:rPr lang="fr-CH" smtClean="0"/>
              <a:t>03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4352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.emf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oleObject" Target="../embeddings/oleObject3.bin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oleObject" Target="../embeddings/oleObject5.bin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notesSlide" Target="../notesSlides/notesSlide3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slideLayout" Target="../slideLayouts/slideLayout12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2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3</a:t>
            </a:r>
            <a:endParaRPr lang="fr-CH" dirty="0"/>
          </a:p>
        </p:txBody>
      </p:sp>
      <p:sp>
        <p:nvSpPr>
          <p:cNvPr id="45" name="Freeform 11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302240" y="6445134"/>
            <a:ext cx="1253913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1100" dirty="0" smtClean="0"/>
              <a:t>Sommaire</a:t>
            </a:r>
            <a:endParaRPr lang="fr-CH" sz="1100" dirty="0"/>
          </a:p>
        </p:txBody>
      </p:sp>
      <p:sp>
        <p:nvSpPr>
          <p:cNvPr id="31" name="Title 4">
            <a:extLst>
              <a:ext uri="{FF2B5EF4-FFF2-40B4-BE49-F238E27FC236}">
                <a16:creationId xmlns:a16="http://schemas.microsoft.com/office/drawing/2014/main" id="{374B7ED6-666C-4C9A-8B7A-DBBDF0ED2B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Sommaire</a:t>
            </a:r>
            <a:endParaRPr lang="en-US" dirty="0"/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Line 64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V="1">
            <a:off x="1687421" y="2598583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8" name="TextBox 97"/>
          <p:cNvSpPr txBox="1"/>
          <p:nvPr>
            <p:custDataLst>
              <p:tags r:id="rId7"/>
            </p:custDataLst>
          </p:nvPr>
        </p:nvSpPr>
        <p:spPr bwMode="gray">
          <a:xfrm>
            <a:off x="1687421" y="2022412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Line 64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flipV="1">
            <a:off x="1687421" y="3336791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" name="TextBox 97"/>
          <p:cNvSpPr txBox="1"/>
          <p:nvPr>
            <p:custDataLst>
              <p:tags r:id="rId9"/>
            </p:custDataLst>
          </p:nvPr>
        </p:nvSpPr>
        <p:spPr bwMode="gray">
          <a:xfrm>
            <a:off x="1687421" y="2760620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Line 64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 flipV="1">
            <a:off x="1687421" y="4074999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2" name="TextBox 97"/>
          <p:cNvSpPr txBox="1"/>
          <p:nvPr>
            <p:custDataLst>
              <p:tags r:id="rId11"/>
            </p:custDataLst>
          </p:nvPr>
        </p:nvSpPr>
        <p:spPr bwMode="gray">
          <a:xfrm>
            <a:off x="1687421" y="34988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64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1687421" y="4813207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4" name="TextBox 97"/>
          <p:cNvSpPr txBox="1"/>
          <p:nvPr>
            <p:custDataLst>
              <p:tags r:id="rId13"/>
            </p:custDataLst>
          </p:nvPr>
        </p:nvSpPr>
        <p:spPr bwMode="gray">
          <a:xfrm>
            <a:off x="1687421" y="4237036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Line 64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 flipV="1">
            <a:off x="6763373" y="2598583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6" name="TextBox 97"/>
          <p:cNvSpPr txBox="1"/>
          <p:nvPr>
            <p:custDataLst>
              <p:tags r:id="rId15"/>
            </p:custDataLst>
          </p:nvPr>
        </p:nvSpPr>
        <p:spPr bwMode="gray">
          <a:xfrm>
            <a:off x="6763373" y="2022412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Line 64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 flipV="1">
            <a:off x="6763373" y="3336791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8" name="TextBox 97"/>
          <p:cNvSpPr txBox="1"/>
          <p:nvPr>
            <p:custDataLst>
              <p:tags r:id="rId17"/>
            </p:custDataLst>
          </p:nvPr>
        </p:nvSpPr>
        <p:spPr bwMode="gray">
          <a:xfrm>
            <a:off x="6763373" y="2760620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Line 6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763373" y="4074999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20" name="TextBox 97"/>
          <p:cNvSpPr txBox="1"/>
          <p:nvPr>
            <p:custDataLst>
              <p:tags r:id="rId19"/>
            </p:custDataLst>
          </p:nvPr>
        </p:nvSpPr>
        <p:spPr bwMode="gray">
          <a:xfrm>
            <a:off x="6763373" y="34988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1" name="Line 64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 flipV="1">
            <a:off x="6763373" y="4813207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22" name="TextBox 97"/>
          <p:cNvSpPr txBox="1"/>
          <p:nvPr>
            <p:custDataLst>
              <p:tags r:id="rId21"/>
            </p:custDataLst>
          </p:nvPr>
        </p:nvSpPr>
        <p:spPr bwMode="gray">
          <a:xfrm>
            <a:off x="6763373" y="4237036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8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490926" y="2123674"/>
            <a:ext cx="20649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2490925" y="2868114"/>
            <a:ext cx="17828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s Outil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2490925" y="3606322"/>
            <a:ext cx="16241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 Projet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2490925" y="4344530"/>
            <a:ext cx="17636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éussite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7566880" y="2123674"/>
            <a:ext cx="13628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chec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7566879" y="2868114"/>
            <a:ext cx="21242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lanificat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7566879" y="3606322"/>
            <a:ext cx="19656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7566879" y="4344530"/>
            <a:ext cx="27045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emerciement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64627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5" name="TextBox 4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04</a:t>
            </a:r>
            <a:endParaRPr lang="fr-CH" dirty="0"/>
          </a:p>
        </p:txBody>
      </p:sp>
      <p:sp>
        <p:nvSpPr>
          <p:cNvPr id="31" name="Freeform 11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995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67" name="Object 6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Line 64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V="1">
            <a:off x="623888" y="1700808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61" name="Line 6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V="1">
            <a:off x="623888" y="3284984"/>
            <a:ext cx="280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049788" y="2743060"/>
            <a:ext cx="2088000" cy="2088000"/>
            <a:chOff x="5049788" y="2743060"/>
            <a:chExt cx="2088000" cy="2088000"/>
          </a:xfrm>
        </p:grpSpPr>
        <p:sp>
          <p:nvSpPr>
            <p:cNvPr id="66" name="Freeform 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049788" y="2743060"/>
              <a:ext cx="2088000" cy="2088000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58" name="Oval 3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305684" y="2994227"/>
              <a:ext cx="1584000" cy="1584000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/>
            <a:lstStyle/>
            <a:p>
              <a:pPr algn="ctr"/>
              <a:endParaRPr lang="fr-CH" sz="14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1" name="Freeform 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295800" y="1484529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72" name="Oval 54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4493800" y="1681828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 smtClean="0">
                <a:solidFill>
                  <a:schemeClr val="accent1"/>
                </a:solidFill>
              </a:rPr>
              <a:t>titre</a:t>
            </a:r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32" name="Oval 29"/>
          <p:cNvSpPr>
            <a:spLocks noChangeArrowheads="1"/>
          </p:cNvSpPr>
          <p:nvPr/>
        </p:nvSpPr>
        <p:spPr bwMode="gray">
          <a:xfrm>
            <a:off x="5491178" y="3182844"/>
            <a:ext cx="1211452" cy="1208329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CH" sz="1600" dirty="0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420200" y="1484529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51" name="Oval 54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gray">
          <a:xfrm>
            <a:off x="6618200" y="1681828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77" name="Freeform 5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467872" y="3049060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78" name="Oval 54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gray">
          <a:xfrm>
            <a:off x="3665872" y="3246359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83" name="Freeform 5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284296" y="3049060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84" name="Oval 54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7482296" y="3246359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2" name="Freeform 5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295800" y="4617296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93" name="Oval 54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gray">
          <a:xfrm>
            <a:off x="4493800" y="4814595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5" name="Freeform 5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420200" y="4617296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96" name="Oval 54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gray">
          <a:xfrm>
            <a:off x="6618200" y="4814595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7" name="Line 6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23888" y="5085184"/>
            <a:ext cx="352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>
            <p:custDataLst>
              <p:tags r:id="rId19"/>
            </p:custDataLst>
          </p:nvPr>
        </p:nvSpPr>
        <p:spPr bwMode="gray">
          <a:xfrm>
            <a:off x="623392" y="134076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1" name="TextBox 100"/>
          <p:cNvSpPr txBox="1"/>
          <p:nvPr>
            <p:custDataLst>
              <p:tags r:id="rId20"/>
            </p:custDataLst>
          </p:nvPr>
        </p:nvSpPr>
        <p:spPr bwMode="gray">
          <a:xfrm>
            <a:off x="623392" y="27852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2" name="TextBox 101"/>
          <p:cNvSpPr txBox="1"/>
          <p:nvPr>
            <p:custDataLst>
              <p:tags r:id="rId21"/>
            </p:custDataLst>
          </p:nvPr>
        </p:nvSpPr>
        <p:spPr bwMode="gray">
          <a:xfrm>
            <a:off x="623392" y="45854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7" name="Line 64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 flipH="1" flipV="1">
            <a:off x="7896112" y="1700808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8" name="Line 64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 flipH="1" flipV="1">
            <a:off x="8760112" y="3284984"/>
            <a:ext cx="280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9" name="Line 6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H="1" flipV="1">
            <a:off x="8040112" y="5085184"/>
            <a:ext cx="352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10" name="TextBox 109"/>
          <p:cNvSpPr txBox="1"/>
          <p:nvPr>
            <p:custDataLst>
              <p:tags r:id="rId25"/>
            </p:custDataLst>
          </p:nvPr>
        </p:nvSpPr>
        <p:spPr bwMode="gray">
          <a:xfrm flipH="1">
            <a:off x="11136560" y="12010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1" name="TextBox 110"/>
          <p:cNvSpPr txBox="1"/>
          <p:nvPr>
            <p:custDataLst>
              <p:tags r:id="rId26"/>
            </p:custDataLst>
          </p:nvPr>
        </p:nvSpPr>
        <p:spPr bwMode="gray">
          <a:xfrm flipH="1">
            <a:off x="11136560" y="27852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2" name="TextBox 111"/>
          <p:cNvSpPr txBox="1"/>
          <p:nvPr>
            <p:custDataLst>
              <p:tags r:id="rId27"/>
            </p:custDataLst>
          </p:nvPr>
        </p:nvSpPr>
        <p:spPr bwMode="gray">
          <a:xfrm flipH="1">
            <a:off x="11136560" y="45854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779118" y="3599496"/>
            <a:ext cx="629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Titre</a:t>
            </a:r>
            <a:endParaRPr lang="fr-CH" dirty="0"/>
          </a:p>
        </p:txBody>
      </p:sp>
      <p:sp>
        <p:nvSpPr>
          <p:cNvPr id="62" name="TextBox 61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5</a:t>
            </a:r>
            <a:endParaRPr lang="fr-CH" dirty="0"/>
          </a:p>
        </p:txBody>
      </p:sp>
      <p:sp>
        <p:nvSpPr>
          <p:cNvPr id="63" name="Freeform 115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46" name="Title 5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518164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2" dur="5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8" dur="5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4" dur="5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70" dur="5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6" dur="5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2" dur="5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 animBg="1"/>
      <p:bldP spid="71" grpId="0" animBg="1"/>
      <p:bldP spid="71" grpId="1" animBg="1"/>
      <p:bldP spid="72" grpId="0" animBg="1"/>
      <p:bldP spid="68" grpId="0" animBg="1"/>
      <p:bldP spid="68" grpId="1" animBg="1"/>
      <p:bldP spid="51" grpId="0" animBg="1"/>
      <p:bldP spid="77" grpId="0" animBg="1"/>
      <p:bldP spid="77" grpId="1" animBg="1"/>
      <p:bldP spid="78" grpId="0" animBg="1"/>
      <p:bldP spid="83" grpId="0" animBg="1"/>
      <p:bldP spid="83" grpId="1" animBg="1"/>
      <p:bldP spid="84" grpId="0" animBg="1"/>
      <p:bldP spid="92" grpId="0" animBg="1"/>
      <p:bldP spid="92" grpId="1" animBg="1"/>
      <p:bldP spid="93" grpId="0" animBg="1"/>
      <p:bldP spid="95" grpId="0" animBg="1"/>
      <p:bldP spid="95" grpId="1" animBg="1"/>
      <p:bldP spid="96" grpId="0" animBg="1"/>
      <p:bldP spid="97" grpId="0" animBg="1"/>
      <p:bldP spid="98" grpId="0" animBg="1"/>
      <p:bldP spid="101" grpId="0" animBg="1"/>
      <p:bldP spid="102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/>
          <p:cNvSpPr>
            <a:spLocks noGrp="1"/>
          </p:cNvSpPr>
          <p:nvPr>
            <p:ph type="pic" sz="quarter" idx="22"/>
          </p:nvPr>
        </p:nvSpPr>
        <p:spPr>
          <a:xfrm>
            <a:off x="766815" y="3404340"/>
            <a:ext cx="5184576" cy="2688956"/>
          </a:xfrm>
        </p:spPr>
      </p:sp>
      <p:sp>
        <p:nvSpPr>
          <p:cNvPr id="18" name="Espace réservé pour une image  3"/>
          <p:cNvSpPr>
            <a:spLocks noGrp="1"/>
          </p:cNvSpPr>
          <p:nvPr>
            <p:ph type="pic" sz="quarter" idx="22"/>
          </p:nvPr>
        </p:nvSpPr>
        <p:spPr>
          <a:xfrm>
            <a:off x="6357940" y="3404340"/>
            <a:ext cx="5184576" cy="2695232"/>
          </a:xfrm>
        </p:spPr>
      </p:sp>
      <p:graphicFrame>
        <p:nvGraphicFramePr>
          <p:cNvPr id="105" name="Object 10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05" name="Object 10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75703" y="1513447"/>
            <a:ext cx="4950282" cy="864000"/>
          </a:xfrm>
          <a:prstGeom prst="rect">
            <a:avLst/>
          </a:prstGeom>
          <a:noFill/>
          <a:ln>
            <a:noFill/>
          </a:ln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</a:pPr>
            <a:r>
              <a:rPr lang="fr-CH" sz="1600" b="1" dirty="0" smtClean="0">
                <a:solidFill>
                  <a:schemeClr val="accent1"/>
                </a:solidFill>
              </a:rPr>
              <a:t>titre</a:t>
            </a:r>
            <a:endParaRPr lang="fr-CH" sz="1600" b="1" dirty="0">
              <a:solidFill>
                <a:schemeClr val="accent1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fr-CH" sz="1600" dirty="0" smtClean="0"/>
              <a:t>points</a:t>
            </a:r>
            <a:endParaRPr lang="fr-CH" sz="1600" dirty="0"/>
          </a:p>
        </p:txBody>
      </p:sp>
      <p:cxnSp>
        <p:nvCxnSpPr>
          <p:cNvPr id="48" name="Straight Connector 47"/>
          <p:cNvCxnSpPr/>
          <p:nvPr>
            <p:custDataLst>
              <p:tags r:id="rId5"/>
            </p:custDataLst>
          </p:nvPr>
        </p:nvCxnSpPr>
        <p:spPr bwMode="gray">
          <a:xfrm flipV="1">
            <a:off x="766815" y="1513447"/>
            <a:ext cx="0" cy="226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357941" y="1420544"/>
            <a:ext cx="4968058" cy="864000"/>
          </a:xfrm>
          <a:prstGeom prst="rect">
            <a:avLst/>
          </a:prstGeom>
          <a:noFill/>
          <a:ln>
            <a:noFill/>
          </a:ln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</a:pPr>
            <a:r>
              <a:rPr lang="fr-CH" sz="1600" b="1" dirty="0" smtClean="0">
                <a:solidFill>
                  <a:schemeClr val="accent1"/>
                </a:solidFill>
              </a:rPr>
              <a:t>tire</a:t>
            </a:r>
            <a:endParaRPr lang="fr-CH" sz="1600" b="1" dirty="0">
              <a:solidFill>
                <a:schemeClr val="accent1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fr-CH" sz="1600" dirty="0" smtClean="0"/>
              <a:t>points</a:t>
            </a:r>
            <a:endParaRPr lang="fr-CH" sz="1600" dirty="0"/>
          </a:p>
        </p:txBody>
      </p:sp>
      <p:cxnSp>
        <p:nvCxnSpPr>
          <p:cNvPr id="50" name="Straight Connector 48"/>
          <p:cNvCxnSpPr/>
          <p:nvPr>
            <p:custDataLst>
              <p:tags r:id="rId7"/>
            </p:custDataLst>
          </p:nvPr>
        </p:nvCxnSpPr>
        <p:spPr bwMode="gray">
          <a:xfrm flipV="1">
            <a:off x="6357941" y="1513447"/>
            <a:ext cx="0" cy="226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532018" y="3055642"/>
            <a:ext cx="1114922" cy="725806"/>
          </a:xfrm>
        </p:spPr>
        <p:txBody>
          <a:bodyPr/>
          <a:lstStyle/>
          <a:p>
            <a:r>
              <a:rPr lang="fr-CH" dirty="0">
                <a:latin typeface="Arial Black" panose="020B0A04020102020204" pitchFamily="34" charset="0"/>
              </a:rPr>
              <a:t>01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  <p:custDataLst>
              <p:tags r:id="rId9"/>
            </p:custDataLst>
          </p:nvPr>
        </p:nvSpPr>
        <p:spPr>
          <a:xfrm>
            <a:off x="6168008" y="3055641"/>
            <a:ext cx="1114922" cy="697399"/>
          </a:xfrm>
        </p:spPr>
        <p:txBody>
          <a:bodyPr/>
          <a:lstStyle/>
          <a:p>
            <a:r>
              <a:rPr lang="fr-CH" dirty="0">
                <a:latin typeface="Arial Black" panose="020B0A04020102020204" pitchFamily="34" charset="0"/>
              </a:rPr>
              <a:t>0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7</a:t>
            </a:r>
            <a:endParaRPr lang="fr-CH" dirty="0"/>
          </a:p>
        </p:txBody>
      </p:sp>
      <p:sp>
        <p:nvSpPr>
          <p:cNvPr id="20" name="Freeform 115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23" name="Title 5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15286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6" grpId="0"/>
      <p:bldP spid="12" grpId="0" build="p" animBg="1"/>
      <p:bldP spid="14" grpId="0" build="p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>
            <a:extLst>
              <a:ext uri="{FF2B5EF4-FFF2-40B4-BE49-F238E27FC236}">
                <a16:creationId xmlns:a16="http://schemas.microsoft.com/office/drawing/2014/main" id="{B47AF3AB-AA44-4565-9504-4A0E2B9C2FF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/>
              <a:t>Objectif / Description</a:t>
            </a:r>
            <a:endParaRPr lang="en-US" dirty="0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87EF48CC-017C-4348-B2DA-F3AF8E0FB6E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5400000">
            <a:off x="1963014" y="1439985"/>
            <a:ext cx="1225230" cy="1473841"/>
          </a:xfrm>
          <a:custGeom>
            <a:avLst/>
            <a:gdLst>
              <a:gd name="T0" fmla="*/ 831 w 1046"/>
              <a:gd name="T1" fmla="*/ 1239 h 1258"/>
              <a:gd name="T2" fmla="*/ 927 w 1046"/>
              <a:gd name="T3" fmla="*/ 1185 h 1258"/>
              <a:gd name="T4" fmla="*/ 1046 w 1046"/>
              <a:gd name="T5" fmla="*/ 284 h 1258"/>
              <a:gd name="T6" fmla="*/ 957 w 1046"/>
              <a:gd name="T7" fmla="*/ 208 h 1258"/>
              <a:gd name="T8" fmla="*/ 82 w 1046"/>
              <a:gd name="T9" fmla="*/ 15 h 1258"/>
              <a:gd name="T10" fmla="*/ 10 w 1046"/>
              <a:gd name="T11" fmla="*/ 102 h 1258"/>
              <a:gd name="T12" fmla="*/ 212 w 1046"/>
              <a:gd name="T13" fmla="*/ 1000 h 1258"/>
              <a:gd name="T14" fmla="*/ 325 w 1046"/>
              <a:gd name="T15" fmla="*/ 110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6" h="1258">
                <a:moveTo>
                  <a:pt x="831" y="1239"/>
                </a:moveTo>
                <a:cubicBezTo>
                  <a:pt x="917" y="1258"/>
                  <a:pt x="926" y="1190"/>
                  <a:pt x="927" y="1185"/>
                </a:cubicBezTo>
                <a:cubicBezTo>
                  <a:pt x="1046" y="284"/>
                  <a:pt x="1046" y="284"/>
                  <a:pt x="1046" y="284"/>
                </a:cubicBezTo>
                <a:cubicBezTo>
                  <a:pt x="1041" y="247"/>
                  <a:pt x="1004" y="214"/>
                  <a:pt x="957" y="208"/>
                </a:cubicBezTo>
                <a:cubicBezTo>
                  <a:pt x="82" y="15"/>
                  <a:pt x="82" y="15"/>
                  <a:pt x="82" y="15"/>
                </a:cubicBezTo>
                <a:cubicBezTo>
                  <a:pt x="30" y="0"/>
                  <a:pt x="0" y="58"/>
                  <a:pt x="10" y="102"/>
                </a:cubicBezTo>
                <a:cubicBezTo>
                  <a:pt x="212" y="1000"/>
                  <a:pt x="212" y="1000"/>
                  <a:pt x="212" y="1000"/>
                </a:cubicBezTo>
                <a:cubicBezTo>
                  <a:pt x="222" y="1044"/>
                  <a:pt x="273" y="1092"/>
                  <a:pt x="325" y="11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C3685A46-49D2-4408-96F3-F933F9B61F7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1851583" y="4068657"/>
            <a:ext cx="1240087" cy="1265839"/>
          </a:xfrm>
          <a:custGeom>
            <a:avLst/>
            <a:gdLst>
              <a:gd name="T0" fmla="*/ 855 w 1059"/>
              <a:gd name="T1" fmla="*/ 90 h 1081"/>
              <a:gd name="T2" fmla="*/ 783 w 1059"/>
              <a:gd name="T3" fmla="*/ 1 h 1081"/>
              <a:gd name="T4" fmla="*/ 186 w 1059"/>
              <a:gd name="T5" fmla="*/ 10 h 1081"/>
              <a:gd name="T6" fmla="*/ 115 w 1059"/>
              <a:gd name="T7" fmla="*/ 65 h 1081"/>
              <a:gd name="T8" fmla="*/ 0 w 1059"/>
              <a:gd name="T9" fmla="*/ 938 h 1081"/>
              <a:gd name="T10" fmla="*/ 62 w 1059"/>
              <a:gd name="T11" fmla="*/ 1009 h 1081"/>
              <a:gd name="T12" fmla="*/ 646 w 1059"/>
              <a:gd name="T13" fmla="*/ 1076 h 1081"/>
              <a:gd name="T14" fmla="*/ 903 w 1059"/>
              <a:gd name="T15" fmla="*/ 1024 h 1081"/>
              <a:gd name="T16" fmla="*/ 1027 w 1059"/>
              <a:gd name="T17" fmla="*/ 908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9" h="1081">
                <a:moveTo>
                  <a:pt x="855" y="90"/>
                </a:moveTo>
                <a:cubicBezTo>
                  <a:pt x="849" y="49"/>
                  <a:pt x="830" y="0"/>
                  <a:pt x="783" y="1"/>
                </a:cubicBezTo>
                <a:cubicBezTo>
                  <a:pt x="783" y="1"/>
                  <a:pt x="223" y="9"/>
                  <a:pt x="186" y="10"/>
                </a:cubicBezTo>
                <a:cubicBezTo>
                  <a:pt x="149" y="11"/>
                  <a:pt x="116" y="60"/>
                  <a:pt x="115" y="65"/>
                </a:cubicBezTo>
                <a:cubicBezTo>
                  <a:pt x="0" y="938"/>
                  <a:pt x="0" y="938"/>
                  <a:pt x="0" y="938"/>
                </a:cubicBezTo>
                <a:cubicBezTo>
                  <a:pt x="3" y="974"/>
                  <a:pt x="28" y="1004"/>
                  <a:pt x="62" y="1009"/>
                </a:cubicBezTo>
                <a:cubicBezTo>
                  <a:pt x="646" y="1076"/>
                  <a:pt x="646" y="1076"/>
                  <a:pt x="646" y="1076"/>
                </a:cubicBezTo>
                <a:cubicBezTo>
                  <a:pt x="685" y="1081"/>
                  <a:pt x="823" y="1048"/>
                  <a:pt x="903" y="1024"/>
                </a:cubicBezTo>
                <a:cubicBezTo>
                  <a:pt x="983" y="1000"/>
                  <a:pt x="1059" y="1006"/>
                  <a:pt x="1027" y="9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3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6935CDB7-2DD1-4C5A-B40F-23468B750139}"/>
              </a:ext>
            </a:extLst>
          </p:cNvPr>
          <p:cNvGrpSpPr/>
          <p:nvPr/>
        </p:nvGrpSpPr>
        <p:grpSpPr>
          <a:xfrm>
            <a:off x="8298043" y="2954109"/>
            <a:ext cx="1247587" cy="962836"/>
            <a:chOff x="7147008" y="2888710"/>
            <a:chExt cx="1247587" cy="962836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6919D919-13A6-42D4-986E-7A96D9DC884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7289384" y="2746334"/>
              <a:ext cx="962836" cy="1247587"/>
            </a:xfrm>
            <a:custGeom>
              <a:avLst/>
              <a:gdLst>
                <a:gd name="T0" fmla="*/ 413 w 765"/>
                <a:gd name="T1" fmla="*/ 0 h 991"/>
                <a:gd name="T2" fmla="*/ 719 w 765"/>
                <a:gd name="T3" fmla="*/ 150 h 991"/>
                <a:gd name="T4" fmla="*/ 765 w 765"/>
                <a:gd name="T5" fmla="*/ 233 h 991"/>
                <a:gd name="T6" fmla="*/ 765 w 765"/>
                <a:gd name="T7" fmla="*/ 931 h 991"/>
                <a:gd name="T8" fmla="*/ 718 w 765"/>
                <a:gd name="T9" fmla="*/ 985 h 991"/>
                <a:gd name="T10" fmla="*/ 47 w 765"/>
                <a:gd name="T11" fmla="*/ 830 h 991"/>
                <a:gd name="T12" fmla="*/ 0 w 765"/>
                <a:gd name="T13" fmla="*/ 755 h 991"/>
                <a:gd name="T14" fmla="*/ 0 w 765"/>
                <a:gd name="T15" fmla="*/ 366 h 991"/>
                <a:gd name="T16" fmla="*/ 41 w 765"/>
                <a:gd name="T17" fmla="*/ 268 h 991"/>
                <a:gd name="T18" fmla="*/ 413 w 765"/>
                <a:gd name="T1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5" h="991">
                  <a:moveTo>
                    <a:pt x="413" y="0"/>
                  </a:moveTo>
                  <a:cubicBezTo>
                    <a:pt x="486" y="0"/>
                    <a:pt x="719" y="150"/>
                    <a:pt x="719" y="150"/>
                  </a:cubicBezTo>
                  <a:cubicBezTo>
                    <a:pt x="744" y="160"/>
                    <a:pt x="765" y="198"/>
                    <a:pt x="765" y="233"/>
                  </a:cubicBezTo>
                  <a:cubicBezTo>
                    <a:pt x="765" y="931"/>
                    <a:pt x="765" y="931"/>
                    <a:pt x="765" y="931"/>
                  </a:cubicBezTo>
                  <a:cubicBezTo>
                    <a:pt x="765" y="966"/>
                    <a:pt x="744" y="991"/>
                    <a:pt x="718" y="985"/>
                  </a:cubicBezTo>
                  <a:cubicBezTo>
                    <a:pt x="47" y="830"/>
                    <a:pt x="47" y="830"/>
                    <a:pt x="47" y="830"/>
                  </a:cubicBezTo>
                  <a:cubicBezTo>
                    <a:pt x="21" y="824"/>
                    <a:pt x="0" y="791"/>
                    <a:pt x="0" y="75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30"/>
                    <a:pt x="19" y="286"/>
                    <a:pt x="41" y="268"/>
                  </a:cubicBezTo>
                  <a:cubicBezTo>
                    <a:pt x="41" y="268"/>
                    <a:pt x="349" y="0"/>
                    <a:pt x="4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CH" sz="4400" dirty="0">
                <a:solidFill>
                  <a:schemeClr val="accent4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A141585-C38D-46BE-8462-3C477C0F371D}"/>
                </a:ext>
              </a:extLst>
            </p:cNvPr>
            <p:cNvSpPr txBox="1"/>
            <p:nvPr/>
          </p:nvSpPr>
          <p:spPr>
            <a:xfrm>
              <a:off x="7575966" y="2984245"/>
              <a:ext cx="561372" cy="76944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r>
                <a:rPr lang="fr-CH" sz="4400" dirty="0">
                  <a:solidFill>
                    <a:schemeClr val="accent4"/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</p:grp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816BCD6C-D7FE-4EC7-A351-C5435F0A3190}"/>
              </a:ext>
            </a:extLst>
          </p:cNvPr>
          <p:cNvCxnSpPr>
            <a:cxnSpLocks/>
          </p:cNvCxnSpPr>
          <p:nvPr/>
        </p:nvCxnSpPr>
        <p:spPr>
          <a:xfrm flipH="1">
            <a:off x="3464951" y="2789521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1EE273F-A1AF-4400-9093-A7B689B09B3D}"/>
              </a:ext>
            </a:extLst>
          </p:cNvPr>
          <p:cNvCxnSpPr>
            <a:cxnSpLocks/>
          </p:cNvCxnSpPr>
          <p:nvPr/>
        </p:nvCxnSpPr>
        <p:spPr>
          <a:xfrm flipH="1">
            <a:off x="3464951" y="390326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AC2711E-EA3D-4F95-98DE-D3612D9E19DB}"/>
              </a:ext>
            </a:extLst>
          </p:cNvPr>
          <p:cNvCxnSpPr>
            <a:cxnSpLocks/>
          </p:cNvCxnSpPr>
          <p:nvPr/>
        </p:nvCxnSpPr>
        <p:spPr>
          <a:xfrm flipH="1">
            <a:off x="3464951" y="501813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539F6354-7ACA-4E26-B116-86D9EEAEE7CA}"/>
              </a:ext>
            </a:extLst>
          </p:cNvPr>
          <p:cNvSpPr txBox="1"/>
          <p:nvPr/>
        </p:nvSpPr>
        <p:spPr>
          <a:xfrm>
            <a:off x="4355909" y="2176906"/>
            <a:ext cx="36962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Compter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856CB66-081A-487E-BBB1-703E0EC83A3B}"/>
              </a:ext>
            </a:extLst>
          </p:cNvPr>
          <p:cNvSpPr txBox="1"/>
          <p:nvPr/>
        </p:nvSpPr>
        <p:spPr>
          <a:xfrm>
            <a:off x="4355910" y="3291775"/>
            <a:ext cx="3480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Connaîtr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22A2574-2673-45FA-A592-302E2144B5B2}"/>
              </a:ext>
            </a:extLst>
          </p:cNvPr>
          <p:cNvSpPr txBox="1"/>
          <p:nvPr/>
        </p:nvSpPr>
        <p:spPr>
          <a:xfrm>
            <a:off x="4355909" y="4413651"/>
            <a:ext cx="36962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Placer</a:t>
            </a:r>
          </a:p>
        </p:txBody>
      </p:sp>
      <p:sp>
        <p:nvSpPr>
          <p:cNvPr id="40" name="TextBox 16">
            <a:extLst>
              <a:ext uri="{FF2B5EF4-FFF2-40B4-BE49-F238E27FC236}">
                <a16:creationId xmlns:a16="http://schemas.microsoft.com/office/drawing/2014/main" id="{A593288F-06C0-4F23-A02D-306299148FFE}"/>
              </a:ext>
            </a:extLst>
          </p:cNvPr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11</a:t>
            </a:r>
            <a:endParaRPr lang="fr-CH" dirty="0"/>
          </a:p>
        </p:txBody>
      </p:sp>
      <p:sp>
        <p:nvSpPr>
          <p:cNvPr id="41" name="Freeform 115">
            <a:extLst>
              <a:ext uri="{FF2B5EF4-FFF2-40B4-BE49-F238E27FC236}">
                <a16:creationId xmlns:a16="http://schemas.microsoft.com/office/drawing/2014/main" id="{60CEBCF9-EF4E-455E-8575-E13AFFE1DED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40537" y="6445134"/>
            <a:ext cx="11156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CH" sz="1100" dirty="0"/>
              <a:t>Développemen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739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29" grpId="0"/>
      <p:bldP spid="30" grpId="0"/>
      <p:bldP spid="3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4">
            <a:extLst>
              <a:ext uri="{FF2B5EF4-FFF2-40B4-BE49-F238E27FC236}">
                <a16:creationId xmlns:a16="http://schemas.microsoft.com/office/drawing/2014/main" id="{F7FE0B10-F2FF-4B56-A89C-0DAAAAB911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/>
              <a:t>Objectif / Description</a:t>
            </a:r>
            <a:endParaRPr lang="en-US" dirty="0"/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4AC4A82C-B6E0-4525-A1E4-3B0502FE26A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5400000">
            <a:off x="8330521" y="1439986"/>
            <a:ext cx="1225230" cy="1473841"/>
          </a:xfrm>
          <a:custGeom>
            <a:avLst/>
            <a:gdLst>
              <a:gd name="T0" fmla="*/ 831 w 1046"/>
              <a:gd name="T1" fmla="*/ 1239 h 1258"/>
              <a:gd name="T2" fmla="*/ 927 w 1046"/>
              <a:gd name="T3" fmla="*/ 1185 h 1258"/>
              <a:gd name="T4" fmla="*/ 1046 w 1046"/>
              <a:gd name="T5" fmla="*/ 284 h 1258"/>
              <a:gd name="T6" fmla="*/ 957 w 1046"/>
              <a:gd name="T7" fmla="*/ 208 h 1258"/>
              <a:gd name="T8" fmla="*/ 82 w 1046"/>
              <a:gd name="T9" fmla="*/ 15 h 1258"/>
              <a:gd name="T10" fmla="*/ 10 w 1046"/>
              <a:gd name="T11" fmla="*/ 102 h 1258"/>
              <a:gd name="T12" fmla="*/ 212 w 1046"/>
              <a:gd name="T13" fmla="*/ 1000 h 1258"/>
              <a:gd name="T14" fmla="*/ 325 w 1046"/>
              <a:gd name="T15" fmla="*/ 110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6" h="1258">
                <a:moveTo>
                  <a:pt x="831" y="1239"/>
                </a:moveTo>
                <a:cubicBezTo>
                  <a:pt x="917" y="1258"/>
                  <a:pt x="926" y="1190"/>
                  <a:pt x="927" y="1185"/>
                </a:cubicBezTo>
                <a:cubicBezTo>
                  <a:pt x="1046" y="284"/>
                  <a:pt x="1046" y="284"/>
                  <a:pt x="1046" y="284"/>
                </a:cubicBezTo>
                <a:cubicBezTo>
                  <a:pt x="1041" y="247"/>
                  <a:pt x="1004" y="214"/>
                  <a:pt x="957" y="208"/>
                </a:cubicBezTo>
                <a:cubicBezTo>
                  <a:pt x="82" y="15"/>
                  <a:pt x="82" y="15"/>
                  <a:pt x="82" y="15"/>
                </a:cubicBezTo>
                <a:cubicBezTo>
                  <a:pt x="30" y="0"/>
                  <a:pt x="0" y="58"/>
                  <a:pt x="10" y="102"/>
                </a:cubicBezTo>
                <a:cubicBezTo>
                  <a:pt x="212" y="1000"/>
                  <a:pt x="212" y="1000"/>
                  <a:pt x="212" y="1000"/>
                </a:cubicBezTo>
                <a:cubicBezTo>
                  <a:pt x="222" y="1044"/>
                  <a:pt x="273" y="1092"/>
                  <a:pt x="325" y="11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Freeform 10">
            <a:extLst>
              <a:ext uri="{FF2B5EF4-FFF2-40B4-BE49-F238E27FC236}">
                <a16:creationId xmlns:a16="http://schemas.microsoft.com/office/drawing/2014/main" id="{564D098F-CF2C-401B-BAF0-468BDD7EF7B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8219091" y="4068657"/>
            <a:ext cx="1240087" cy="1265839"/>
          </a:xfrm>
          <a:custGeom>
            <a:avLst/>
            <a:gdLst>
              <a:gd name="T0" fmla="*/ 855 w 1059"/>
              <a:gd name="T1" fmla="*/ 90 h 1081"/>
              <a:gd name="T2" fmla="*/ 783 w 1059"/>
              <a:gd name="T3" fmla="*/ 1 h 1081"/>
              <a:gd name="T4" fmla="*/ 186 w 1059"/>
              <a:gd name="T5" fmla="*/ 10 h 1081"/>
              <a:gd name="T6" fmla="*/ 115 w 1059"/>
              <a:gd name="T7" fmla="*/ 65 h 1081"/>
              <a:gd name="T8" fmla="*/ 0 w 1059"/>
              <a:gd name="T9" fmla="*/ 938 h 1081"/>
              <a:gd name="T10" fmla="*/ 62 w 1059"/>
              <a:gd name="T11" fmla="*/ 1009 h 1081"/>
              <a:gd name="T12" fmla="*/ 646 w 1059"/>
              <a:gd name="T13" fmla="*/ 1076 h 1081"/>
              <a:gd name="T14" fmla="*/ 903 w 1059"/>
              <a:gd name="T15" fmla="*/ 1024 h 1081"/>
              <a:gd name="T16" fmla="*/ 1027 w 1059"/>
              <a:gd name="T17" fmla="*/ 908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9" h="1081">
                <a:moveTo>
                  <a:pt x="855" y="90"/>
                </a:moveTo>
                <a:cubicBezTo>
                  <a:pt x="849" y="49"/>
                  <a:pt x="830" y="0"/>
                  <a:pt x="783" y="1"/>
                </a:cubicBezTo>
                <a:cubicBezTo>
                  <a:pt x="783" y="1"/>
                  <a:pt x="223" y="9"/>
                  <a:pt x="186" y="10"/>
                </a:cubicBezTo>
                <a:cubicBezTo>
                  <a:pt x="149" y="11"/>
                  <a:pt x="116" y="60"/>
                  <a:pt x="115" y="65"/>
                </a:cubicBezTo>
                <a:cubicBezTo>
                  <a:pt x="0" y="938"/>
                  <a:pt x="0" y="938"/>
                  <a:pt x="0" y="938"/>
                </a:cubicBezTo>
                <a:cubicBezTo>
                  <a:pt x="3" y="974"/>
                  <a:pt x="28" y="1004"/>
                  <a:pt x="62" y="1009"/>
                </a:cubicBezTo>
                <a:cubicBezTo>
                  <a:pt x="646" y="1076"/>
                  <a:pt x="646" y="1076"/>
                  <a:pt x="646" y="1076"/>
                </a:cubicBezTo>
                <a:cubicBezTo>
                  <a:pt x="685" y="1081"/>
                  <a:pt x="823" y="1048"/>
                  <a:pt x="903" y="1024"/>
                </a:cubicBezTo>
                <a:cubicBezTo>
                  <a:pt x="983" y="1000"/>
                  <a:pt x="1059" y="1006"/>
                  <a:pt x="1027" y="9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6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E5C9D172-02EB-4916-B8BD-82AA6612B2A9}"/>
              </a:ext>
            </a:extLst>
          </p:cNvPr>
          <p:cNvGrpSpPr/>
          <p:nvPr/>
        </p:nvGrpSpPr>
        <p:grpSpPr>
          <a:xfrm rot="10800000">
            <a:off x="1856959" y="2954109"/>
            <a:ext cx="1247587" cy="962836"/>
            <a:chOff x="7147008" y="2888710"/>
            <a:chExt cx="1247587" cy="962836"/>
          </a:xfrm>
        </p:grpSpPr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D0E106AA-6487-4E1B-858A-09F52CDF6A4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7289384" y="2746334"/>
              <a:ext cx="962836" cy="1247587"/>
            </a:xfrm>
            <a:custGeom>
              <a:avLst/>
              <a:gdLst>
                <a:gd name="T0" fmla="*/ 413 w 765"/>
                <a:gd name="T1" fmla="*/ 0 h 991"/>
                <a:gd name="T2" fmla="*/ 719 w 765"/>
                <a:gd name="T3" fmla="*/ 150 h 991"/>
                <a:gd name="T4" fmla="*/ 765 w 765"/>
                <a:gd name="T5" fmla="*/ 233 h 991"/>
                <a:gd name="T6" fmla="*/ 765 w 765"/>
                <a:gd name="T7" fmla="*/ 931 h 991"/>
                <a:gd name="T8" fmla="*/ 718 w 765"/>
                <a:gd name="T9" fmla="*/ 985 h 991"/>
                <a:gd name="T10" fmla="*/ 47 w 765"/>
                <a:gd name="T11" fmla="*/ 830 h 991"/>
                <a:gd name="T12" fmla="*/ 0 w 765"/>
                <a:gd name="T13" fmla="*/ 755 h 991"/>
                <a:gd name="T14" fmla="*/ 0 w 765"/>
                <a:gd name="T15" fmla="*/ 366 h 991"/>
                <a:gd name="T16" fmla="*/ 41 w 765"/>
                <a:gd name="T17" fmla="*/ 268 h 991"/>
                <a:gd name="T18" fmla="*/ 413 w 765"/>
                <a:gd name="T1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5" h="991">
                  <a:moveTo>
                    <a:pt x="413" y="0"/>
                  </a:moveTo>
                  <a:cubicBezTo>
                    <a:pt x="486" y="0"/>
                    <a:pt x="719" y="150"/>
                    <a:pt x="719" y="150"/>
                  </a:cubicBezTo>
                  <a:cubicBezTo>
                    <a:pt x="744" y="160"/>
                    <a:pt x="765" y="198"/>
                    <a:pt x="765" y="233"/>
                  </a:cubicBezTo>
                  <a:cubicBezTo>
                    <a:pt x="765" y="931"/>
                    <a:pt x="765" y="931"/>
                    <a:pt x="765" y="931"/>
                  </a:cubicBezTo>
                  <a:cubicBezTo>
                    <a:pt x="765" y="966"/>
                    <a:pt x="744" y="991"/>
                    <a:pt x="718" y="985"/>
                  </a:cubicBezTo>
                  <a:cubicBezTo>
                    <a:pt x="47" y="830"/>
                    <a:pt x="47" y="830"/>
                    <a:pt x="47" y="830"/>
                  </a:cubicBezTo>
                  <a:cubicBezTo>
                    <a:pt x="21" y="824"/>
                    <a:pt x="0" y="791"/>
                    <a:pt x="0" y="75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30"/>
                    <a:pt x="19" y="286"/>
                    <a:pt x="41" y="268"/>
                  </a:cubicBezTo>
                  <a:cubicBezTo>
                    <a:pt x="41" y="268"/>
                    <a:pt x="349" y="0"/>
                    <a:pt x="4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CH" sz="4400" dirty="0">
                  <a:solidFill>
                    <a:schemeClr val="accent4"/>
                  </a:solidFill>
                  <a:latin typeface="Arial Black" panose="020B0A04020102020204" pitchFamily="34" charset="0"/>
                </a:rPr>
                <a:t>5</a:t>
              </a:r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A3A0610-066E-4C00-98FE-617039C3D775}"/>
                </a:ext>
              </a:extLst>
            </p:cNvPr>
            <p:cNvSpPr txBox="1"/>
            <p:nvPr/>
          </p:nvSpPr>
          <p:spPr>
            <a:xfrm>
              <a:off x="7733028" y="2984245"/>
              <a:ext cx="184731" cy="76944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endParaRPr lang="fr-CH" sz="4400" dirty="0">
                <a:solidFill>
                  <a:schemeClr val="accent4"/>
                </a:solidFill>
                <a:latin typeface="Arial Black" panose="020B0A04020102020204" pitchFamily="34" charset="0"/>
              </a:endParaRPr>
            </a:p>
          </p:txBody>
        </p:sp>
      </p:grp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5901A2F4-BA3C-49AB-B9AB-9155156B7F27}"/>
              </a:ext>
            </a:extLst>
          </p:cNvPr>
          <p:cNvCxnSpPr>
            <a:cxnSpLocks/>
          </p:cNvCxnSpPr>
          <p:nvPr/>
        </p:nvCxnSpPr>
        <p:spPr>
          <a:xfrm flipH="1">
            <a:off x="3464951" y="2789521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977F327C-4073-4B8B-8726-53184AEF2A15}"/>
              </a:ext>
            </a:extLst>
          </p:cNvPr>
          <p:cNvCxnSpPr>
            <a:cxnSpLocks/>
          </p:cNvCxnSpPr>
          <p:nvPr/>
        </p:nvCxnSpPr>
        <p:spPr>
          <a:xfrm flipH="1">
            <a:off x="3464951" y="390326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23C51E7-96D1-43C0-BFBE-633BFBFD387A}"/>
              </a:ext>
            </a:extLst>
          </p:cNvPr>
          <p:cNvCxnSpPr>
            <a:cxnSpLocks/>
          </p:cNvCxnSpPr>
          <p:nvPr/>
        </p:nvCxnSpPr>
        <p:spPr>
          <a:xfrm flipH="1">
            <a:off x="3464951" y="501813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0C9BD9A0-F37D-43C9-BFFA-05DEE60FE805}"/>
              </a:ext>
            </a:extLst>
          </p:cNvPr>
          <p:cNvSpPr txBox="1"/>
          <p:nvPr/>
        </p:nvSpPr>
        <p:spPr>
          <a:xfrm>
            <a:off x="4355909" y="2176906"/>
            <a:ext cx="36962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Ranger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2DB4C33-640E-49BC-8889-FA35BE9EA54A}"/>
              </a:ext>
            </a:extLst>
          </p:cNvPr>
          <p:cNvSpPr txBox="1"/>
          <p:nvPr/>
        </p:nvSpPr>
        <p:spPr>
          <a:xfrm>
            <a:off x="4355910" y="3291775"/>
            <a:ext cx="3480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Ajouter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03C92F8B-CC1B-45A8-8D33-9F7A96A355FB}"/>
              </a:ext>
            </a:extLst>
          </p:cNvPr>
          <p:cNvSpPr txBox="1"/>
          <p:nvPr/>
        </p:nvSpPr>
        <p:spPr>
          <a:xfrm>
            <a:off x="4355909" y="4413651"/>
            <a:ext cx="36962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Bouger</a:t>
            </a:r>
          </a:p>
        </p:txBody>
      </p:sp>
      <p:sp>
        <p:nvSpPr>
          <p:cNvPr id="39" name="TextBox 16">
            <a:extLst>
              <a:ext uri="{FF2B5EF4-FFF2-40B4-BE49-F238E27FC236}">
                <a16:creationId xmlns:a16="http://schemas.microsoft.com/office/drawing/2014/main" id="{61F3344A-641C-4AE7-8CE6-285F0E0A88DC}"/>
              </a:ext>
            </a:extLst>
          </p:cNvPr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12</a:t>
            </a:r>
            <a:endParaRPr lang="fr-CH" dirty="0"/>
          </a:p>
        </p:txBody>
      </p:sp>
      <p:sp>
        <p:nvSpPr>
          <p:cNvPr id="40" name="Freeform 115">
            <a:extLst>
              <a:ext uri="{FF2B5EF4-FFF2-40B4-BE49-F238E27FC236}">
                <a16:creationId xmlns:a16="http://schemas.microsoft.com/office/drawing/2014/main" id="{D4A07EC7-8BD1-4AF7-A894-13159628DF1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40537" y="6445134"/>
            <a:ext cx="11156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CH" sz="1100" dirty="0"/>
              <a:t>Développement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750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32" grpId="0"/>
      <p:bldP spid="33" grpId="0"/>
      <p:bldP spid="3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62269f-1657-420c-a987-7839c5f02a46"/>
  <p:tag name="MIO_EK_DESIGN" val="2529"/>
  <p:tag name="MIO_VERSION_DESIGN" val="26.02.2016 15:54:17"/>
  <p:tag name="MIO_DBID_DESIGN" val="218709A9-2117-4AF1-A1EA-309C9A305E58"/>
  <p:tag name="VCT_STH" val="True"/>
  <p:tag name="MIO_EK" val="11179"/>
  <p:tag name="MIO_EKGUID" val="18c0778f-3711-4479-b758-e94b42026d22"/>
  <p:tag name="MIO_UPDATE" val="True"/>
  <p:tag name="MIO_VERSION" val="25.02.2018 16:36:50"/>
  <p:tag name="MIO_DBID" val="218709A9-2117-4AF1-A1EA-309C9A305E58"/>
  <p:tag name="MIO_LASTDOWNLOADED" val="19.07.2018 08:05:02"/>
  <p:tag name="MIO_OBJECTNAME" val="Four horizontal pictures in corporate shapes w (2)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11840c-3058-4578-b196-4741cc5d4f49"/>
  <p:tag name="MIO_EK_DESIGN" val="2529"/>
  <p:tag name="MIO_VERSION_DESIGN" val="26.02.2016 15:54:17"/>
  <p:tag name="MIO_DBID_DESIGN" val="218709A9-2117-4AF1-A1EA-309C9A305E58"/>
  <p:tag name="VCT_STH" val="True"/>
  <p:tag name="MIO_EK" val="11219"/>
  <p:tag name="MIO_EKGUID" val="bdd90949-bbb4-4eae-880b-462f93afc9b3"/>
  <p:tag name="MIO_UPDATE" val="True"/>
  <p:tag name="MIO_VERSION" val="25.02.2018 16:12:13"/>
  <p:tag name="MIO_DBID" val="218709A9-2117-4AF1-A1EA-309C9A305E58"/>
  <p:tag name="MIO_LASTDOWNLOADED" val="17.07.2018 19:15:59"/>
  <p:tag name="MIO_OBJECTNAME" val="Six topics forming a set (2)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4ebffd-58b8-4c93-8e5e-95de5382050f"/>
  <p:tag name="MIO_EK_DESIGN" val="2529"/>
  <p:tag name="MIO_VERSION_DESIGN" val="26.02.2016 15:54:17"/>
  <p:tag name="MIO_DBID_DESIGN" val="218709A9-2117-4AF1-A1EA-309C9A305E58"/>
  <p:tag name="VCT_STH" val="True"/>
  <p:tag name="MIO_EK" val="11231"/>
  <p:tag name="MIO_EKGUID" val="fe34ab40-1de9-423d-a8fd-6ab75921327b"/>
  <p:tag name="MIO_UPDATE" val="True"/>
  <p:tag name="MIO_VERSION" val="25.02.2018 16:13:04"/>
  <p:tag name="MIO_DBID" val="218709A9-2117-4AF1-A1EA-309C9A305E58"/>
  <p:tag name="MIO_LASTDOWNLOADED" val="16.07.2018 10:26:57"/>
  <p:tag name="MIO_OBJECTNAME" val="Dynamic Concept with more content"/>
  <p:tag name="MIO_LASTEDITORNAME" val="Michaela Kapal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c2add4-5678-47ab-91d6-13ad8ab6f781"/>
  <p:tag name="MIO_EK_DESIGN" val="2529"/>
  <p:tag name="MIO_VERSION_DESIGN" val="26.02.2016 15:54:17"/>
  <p:tag name="MIO_DBID_DESIGN" val="218709A9-2117-4AF1-A1EA-309C9A305E58"/>
  <p:tag name="VCT_STH" val="True"/>
  <p:tag name="MIO_EK" val="11236"/>
  <p:tag name="MIO_EKGUID" val="7e706287-fb59-4c4a-929b-a9dbb4ab6e81"/>
  <p:tag name="MIO_UPDATE" val="True"/>
  <p:tag name="MIO_VERSION" val="25.02.2018 16:13:25"/>
  <p:tag name="MIO_DBID" val="218709A9-2117-4AF1-A1EA-309C9A305E58"/>
  <p:tag name="MIO_LASTDOWNLOADED" val="17.07.2018 19:07:39"/>
  <p:tag name="MIO_OBJECTNAME" val="Timetable with pictures for two year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2</TotalTime>
  <Words>81</Words>
  <Application>Microsoft Office PowerPoint</Application>
  <PresentationFormat>Grand écran</PresentationFormat>
  <Paragraphs>75</Paragraphs>
  <Slides>6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5" baseType="lpstr">
      <vt:lpstr>Arial</vt:lpstr>
      <vt:lpstr>Arial Black</vt:lpstr>
      <vt:lpstr>Calibri</vt:lpstr>
      <vt:lpstr>Calibri Light</vt:lpstr>
      <vt:lpstr>Merck</vt:lpstr>
      <vt:lpstr>Verdana</vt:lpstr>
      <vt:lpstr>Wingdings</vt:lpstr>
      <vt:lpstr>Office Theme</vt:lpstr>
      <vt:lpstr>think-cell Slide</vt:lpstr>
      <vt:lpstr>Sommaire</vt:lpstr>
      <vt:lpstr>Titre</vt:lpstr>
      <vt:lpstr>Titre</vt:lpstr>
      <vt:lpstr>Titre</vt:lpstr>
      <vt:lpstr>Objectif / Description</vt:lpstr>
      <vt:lpstr>Objectif / Descrip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go Vieira</dc:creator>
  <cp:lastModifiedBy>VIEIRA-FERREIRA Diogo</cp:lastModifiedBy>
  <cp:revision>56</cp:revision>
  <dcterms:created xsi:type="dcterms:W3CDTF">2018-07-13T15:09:52Z</dcterms:created>
  <dcterms:modified xsi:type="dcterms:W3CDTF">2019-04-03T07:35:37Z</dcterms:modified>
</cp:coreProperties>
</file>